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oleObject" Target="../embeddings/oleObject4.bin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3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oleObject" Target="../embeddings/oleObject3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Layout" Target="../slideLayouts/slideLayout2.xml"/><Relationship Id="rId28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599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9" name="think-cell Slide" r:id="rId24" imgW="383" imgH="385" progId="TCLayout.ActiveDocument.1">
                  <p:embed/>
                </p:oleObj>
              </mc:Choice>
              <mc:Fallback>
                <p:oleObj name="think-cell Slide" r:id="rId24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ie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sp>
        <p:nvSpPr>
          <p:cNvPr id="121" name="TextBox 120"/>
          <p:cNvSpPr txBox="1"/>
          <p:nvPr/>
        </p:nvSpPr>
        <p:spPr>
          <a:xfrm>
            <a:off x="1604963" y="1577975"/>
            <a:ext cx="871134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 smtClean="0"/>
              <a:t>Among Citrus fruits, Oranges are the most used in packaged drinks</a:t>
            </a:r>
            <a:endParaRPr lang="en-US" sz="1600" dirty="0"/>
          </a:p>
        </p:txBody>
      </p:sp>
      <p:graphicFrame>
        <p:nvGraphicFramePr>
          <p:cNvPr id="122" name="Object 12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31694145"/>
              </p:ext>
            </p:extLst>
          </p:nvPr>
        </p:nvGraphicFramePr>
        <p:xfrm>
          <a:off x="7543800" y="2171700"/>
          <a:ext cx="1381095" cy="30862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0" name="Chart" r:id="rId26" imgW="1381095" imgH="3086244" progId="MSGraph.Chart.8">
                  <p:embed followColorScheme="full"/>
                </p:oleObj>
              </mc:Choice>
              <mc:Fallback>
                <p:oleObj name="Chart" r:id="rId26" imgW="1381095" imgH="308624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7543800" y="2171700"/>
                        <a:ext cx="1381095" cy="30862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Text Placeholder 18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7969250" y="336073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3CFE1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AC36A88-19AD-4AF0-87B7-A3A95D30B735}" type="datetime'''''''''''''2''''''2''''''''''''%'''''''''''''''''''">
              <a:rPr lang="en-US" sz="1400" b="0"/>
              <a:pPr/>
              <a:t>22%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4" name="Text Placeholder 11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8589963" y="4360863"/>
            <a:ext cx="442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>
                <a:sym typeface="+mn-lt"/>
              </a:rPr>
              <a:t>Other</a:t>
            </a:r>
            <a:endParaRPr lang="en-US" sz="1400" b="0" kern="0" dirty="0">
              <a:sym typeface="+mn-lt"/>
            </a:endParaRPr>
          </a:p>
        </p:txBody>
      </p:sp>
      <p:sp>
        <p:nvSpPr>
          <p:cNvPr id="125" name="Text Placeholder 17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969250" y="26177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DE99478-CE04-4F50-8D85-DCB21F613639}" type="datetime'''''''''''''''''''''''''''''30''''''''''''%'''''''''''''''''">
              <a:rPr lang="en-US" sz="1400" b="0"/>
              <a:pPr/>
              <a:t>3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6" name="Text Placeholder 12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048625" y="2057400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D7A2B02-B8F1-4D26-BB2D-DCEB3ACC23D3}" type="datetime'''6''1'''''''''''''''''''''''''''''''''''">
              <a:rPr lang="en-US" sz="1400" b="0"/>
              <a:pPr/>
              <a:t>61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7" name="Text Placeholder 9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589963" y="2617788"/>
            <a:ext cx="454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>
                <a:sym typeface="+mn-lt"/>
              </a:rPr>
              <a:t>Navel</a:t>
            </a:r>
            <a:endParaRPr lang="en-US" sz="1400" b="0" kern="0" dirty="0">
              <a:sym typeface="+mn-lt"/>
            </a:endParaRPr>
          </a:p>
        </p:txBody>
      </p:sp>
      <p:sp>
        <p:nvSpPr>
          <p:cNvPr id="128" name="Text Placeholder 16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7969250" y="436086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3F973D4-032E-406D-B486-B5EC4DBDF848}" type="datetime'''''''''''''''''''''''''''4''''''''''8''%'''''''''''''''''''''">
              <a:rPr lang="en-US" sz="1400" b="0"/>
              <a:pPr/>
              <a:t>48%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9" name="Text Placeholder 10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8589963" y="3360738"/>
            <a:ext cx="6683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>
                <a:sym typeface="+mn-lt"/>
              </a:rPr>
              <a:t>Valencia</a:t>
            </a:r>
            <a:endParaRPr lang="en-US" sz="1400" b="0" kern="0" dirty="0">
              <a:sym typeface="+mn-lt"/>
            </a:endParaRPr>
          </a:p>
        </p:txBody>
      </p:sp>
      <p:cxnSp>
        <p:nvCxnSpPr>
          <p:cNvPr id="130" name="Straight Connector 129"/>
          <p:cNvCxnSpPr/>
          <p:nvPr>
            <p:custDataLst>
              <p:tags r:id="rId12"/>
            </p:custDataLst>
          </p:nvPr>
        </p:nvCxnSpPr>
        <p:spPr bwMode="auto">
          <a:xfrm flipV="1">
            <a:off x="5805488" y="2295525"/>
            <a:ext cx="0" cy="48101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1" name="Straight Connector 130"/>
          <p:cNvCxnSpPr/>
          <p:nvPr>
            <p:custDataLst>
              <p:tags r:id="rId13"/>
            </p:custDataLst>
          </p:nvPr>
        </p:nvCxnSpPr>
        <p:spPr bwMode="auto">
          <a:xfrm>
            <a:off x="5805488" y="2295525"/>
            <a:ext cx="2090737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2" name="Straight Connector 131"/>
          <p:cNvCxnSpPr/>
          <p:nvPr>
            <p:custDataLst>
              <p:tags r:id="rId14"/>
            </p:custDataLst>
          </p:nvPr>
        </p:nvCxnSpPr>
        <p:spPr bwMode="auto">
          <a:xfrm>
            <a:off x="5797550" y="4672013"/>
            <a:ext cx="0" cy="481012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Straight Connector 132"/>
          <p:cNvCxnSpPr/>
          <p:nvPr>
            <p:custDataLst>
              <p:tags r:id="rId15"/>
            </p:custDataLst>
          </p:nvPr>
        </p:nvCxnSpPr>
        <p:spPr bwMode="auto">
          <a:xfrm>
            <a:off x="5797550" y="5153025"/>
            <a:ext cx="187483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35" name="Object 134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774669434"/>
              </p:ext>
            </p:extLst>
          </p:nvPr>
        </p:nvGraphicFramePr>
        <p:xfrm>
          <a:off x="2781300" y="1905000"/>
          <a:ext cx="3628963" cy="36387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1" name="Chart" r:id="rId28" imgW="3628963" imgH="3638734" progId="MSGraph.Chart.8">
                  <p:embed followColorScheme="full"/>
                </p:oleObj>
              </mc:Choice>
              <mc:Fallback>
                <p:oleObj name="Chart" r:id="rId28" imgW="3628963" imgH="363873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781300" y="1905000"/>
                        <a:ext cx="3628963" cy="36387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Text Placeholder 28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6211888" y="3613150"/>
            <a:ext cx="679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>
                <a:sym typeface="+mn-lt"/>
              </a:rPr>
              <a:t>Oranges</a:t>
            </a:r>
            <a:endParaRPr lang="en-US" sz="1400" b="0" kern="0" dirty="0">
              <a:sym typeface="+mn-lt"/>
            </a:endParaRPr>
          </a:p>
        </p:txBody>
      </p:sp>
      <p:sp>
        <p:nvSpPr>
          <p:cNvPr id="137" name="Text Placeholder 32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5922963" y="3613150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BDC849D-064A-4A82-A76C-CCAFCAB9BDD6}" type="datetime'6''''1'''''''''''''''''''''''''''">
              <a:rPr lang="en-US" sz="1400" b="0">
                <a:solidFill>
                  <a:schemeClr val="bg1"/>
                </a:solidFill>
              </a:rPr>
              <a:pPr/>
              <a:t>61</a:t>
            </a:fld>
            <a:endParaRPr lang="en-US" sz="1400" b="0" kern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8" name="Text Placeholder 33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5049838" y="4746625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C6A757F-BFF2-47C3-AABE-7BC38C8920B5}" type="datetime'''''''''''''''3''''''''''''''''''''2'''''">
              <a:rPr lang="en-US" sz="1400" b="0"/>
              <a:pPr/>
              <a:t>32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Text Placeholder 30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2760663" y="3028950"/>
            <a:ext cx="442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400" b="0" dirty="0" smtClean="0">
                <a:latin typeface="Arial" panose="020B0604020202020204" pitchFamily="34" charset="0"/>
                <a:sym typeface="Arial" panose="020B0604020202020204" pitchFamily="34" charset="0"/>
              </a:rPr>
              <a:t>Other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0" name="Text Placeholder 34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3275013" y="3159125"/>
            <a:ext cx="346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A3C2F24-2225-4761-BD67-675C46CA8B61}" type="datetime'''''''''''''''''''''''1''7''''''''''''''''''''''2'''''">
              <a:rPr lang="en-US" sz="1400" b="0"/>
              <a:pPr/>
              <a:t>172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1" name="Text Placeholder 29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5067300" y="5089525"/>
            <a:ext cx="6302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>
                <a:latin typeface="Arial" panose="020B0604020202020204" pitchFamily="34" charset="0"/>
                <a:sym typeface="Arial" panose="020B0604020202020204" pitchFamily="34" charset="0"/>
              </a:rPr>
              <a:t>Limes/</a:t>
            </a:r>
            <a:br>
              <a:rPr lang="en-US" sz="1400" b="0" dirty="0" smtClean="0">
                <a:latin typeface="Arial" panose="020B0604020202020204" pitchFamily="34" charset="0"/>
                <a:sym typeface="Arial" panose="020B0604020202020204" pitchFamily="34" charset="0"/>
              </a:rPr>
            </a:br>
            <a:r>
              <a:rPr lang="en-US" sz="1400" b="0" dirty="0" smtClean="0">
                <a:latin typeface="Arial" panose="020B0604020202020204" pitchFamily="34" charset="0"/>
                <a:sym typeface="Arial" panose="020B0604020202020204" pitchFamily="34" charset="0"/>
              </a:rPr>
              <a:t>Lemons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Ui.ZoprkmJntxtS40J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pe9IZR3UWSwmSIKNK3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rg_Voibk.6wkHwbuce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4fDA5aUa400ClFlut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siTzneQUS4r_gCky3D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jKSHEkZ06TmjC6URYQ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EX5Zn75kCA89ug5glu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n60DryYUWkacMp0kQa3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w4d0nKr0y61se9I19U7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.DZf71UOrsof9wHEr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rtIiMN6UmW6EqkMk8f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LQGEPF0C7eJjYfANB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P46mAoQ02nvCjtAv9U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RvD.4WmUivbSxaMnsY.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FZzGVIhU.vH1KW4TGh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hy.qLPU02OOrABsTGm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JKIi1nNUms2EfyONce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5NOGyia0yhP.79VfdG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PwpSNltEi2.PlYWIjJ_A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Pie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7:04:14Z</dcterms:created>
  <dcterms:modified xsi:type="dcterms:W3CDTF">2013-11-29T17:04:24Z</dcterms:modified>
</cp:coreProperties>
</file>